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27"/>
  </p:notesMasterIdLst>
  <p:handoutMasterIdLst>
    <p:handoutMasterId r:id="rId28"/>
  </p:handoutMasterIdLst>
  <p:sldIdLst>
    <p:sldId id="2147481411" r:id="rId3"/>
    <p:sldId id="2147481436" r:id="rId4"/>
    <p:sldId id="2147481439" r:id="rId5"/>
    <p:sldId id="2147481413" r:id="rId6"/>
    <p:sldId id="2147481435" r:id="rId7"/>
    <p:sldId id="2147481412" r:id="rId8"/>
    <p:sldId id="2147481423" r:id="rId9"/>
    <p:sldId id="2147481414" r:id="rId10"/>
    <p:sldId id="2147481415" r:id="rId11"/>
    <p:sldId id="2147481418" r:id="rId12"/>
    <p:sldId id="2147481431" r:id="rId13"/>
    <p:sldId id="2147481430" r:id="rId14"/>
    <p:sldId id="2147481419" r:id="rId15"/>
    <p:sldId id="2147481421" r:id="rId16"/>
    <p:sldId id="2147481420" r:id="rId17"/>
    <p:sldId id="2147481438" r:id="rId18"/>
    <p:sldId id="2147481437" r:id="rId19"/>
    <p:sldId id="2147481432" r:id="rId20"/>
    <p:sldId id="2147481433" r:id="rId21"/>
    <p:sldId id="2147481434" r:id="rId22"/>
    <p:sldId id="2147481441" r:id="rId23"/>
    <p:sldId id="2147481442" r:id="rId24"/>
    <p:sldId id="2147481440" r:id="rId25"/>
    <p:sldId id="2147481402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9" autoAdjust="0"/>
    <p:restoredTop sz="80086" autoAdjust="0"/>
  </p:normalViewPr>
  <p:slideViewPr>
    <p:cSldViewPr snapToGrid="0" snapToObjects="1" showGuides="1">
      <p:cViewPr varScale="1">
        <p:scale>
          <a:sx n="68" d="100"/>
          <a:sy n="68" d="100"/>
        </p:scale>
        <p:origin x="1262" y="72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/>
            <a:t>10:00 – 10:30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/>
            <a:t>Introduction and AWS terminology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/>
            <a:t>10:30 – 10:4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/>
            <a:t>Set up AWS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/>
            <a:t>11:00 – 11:30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/>
            <a:t>11:30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/>
            <a:t>13:30 – 15:0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/>
            <a:t>15:15 – 15:30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/>
            <a:t>Overview of 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/>
            <a:t>15:30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Introduction and AWS terminology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00 – 10:30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et up AWS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30 – 10:4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00 – 11:30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30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3:30 – 15:0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Overview of 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15 – 15:30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30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1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acloud.guru/cloud-playground/cloud-sandboxe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blog.awsfundamentals.com/" TargetMode="External"/><Relationship Id="rId5" Type="http://schemas.openxmlformats.org/officeDocument/2006/relationships/hyperlink" Target="https://github.com/awslabs/aws-shell" TargetMode="External"/><Relationship Id="rId4" Type="http://schemas.openxmlformats.org/officeDocument/2006/relationships/hyperlink" Target="https://help.pluralsight.com/help/aws-sandbox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405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671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240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fter presenting yourself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68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76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</a:t>
            </a:r>
            <a:r>
              <a: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KEY.</a:t>
            </a:r>
          </a:p>
          <a:p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:</a:t>
            </a:r>
            <a:br>
              <a:rPr lang="de-DE" sz="1400" dirty="0"/>
            </a:br>
            <a:r>
              <a:rPr lang="de-DE" sz="1400" dirty="0"/>
              <a:t>https://aws.amazon.com/free/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5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6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99" imgH="299" progId="TCLayout.ActiveDocument.1">
                  <p:embed/>
                </p:oleObj>
              </mc:Choice>
              <mc:Fallback>
                <p:oleObj name="think-cell Folie" r:id="rId29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6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endParaRPr lang="en-US" sz="1800" i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1724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1892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9520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1155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672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dirty="0"/>
              <a:t>Further Steps and Feedback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5636439"/>
              </p:ext>
            </p:extLst>
          </p:nvPr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2274</Words>
  <Application>Microsoft Office PowerPoint</Application>
  <PresentationFormat>Widescreen</PresentationFormat>
  <Paragraphs>303</Paragraphs>
  <Slides>2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dobe Garamond Pro</vt:lpstr>
      <vt:lpstr>Arial</vt:lpstr>
      <vt:lpstr>Arial</vt:lpstr>
      <vt:lpstr>Georgia</vt:lpstr>
      <vt:lpstr>Myriad Pro SemiCond</vt:lpstr>
      <vt:lpstr>Roboto</vt:lpstr>
      <vt:lpstr>Symbol</vt:lpstr>
      <vt:lpstr>Wingdings</vt:lpstr>
      <vt:lpstr>NTT DATA LIGHT </vt:lpstr>
      <vt:lpstr>NTT DATA DARK </vt:lpstr>
      <vt:lpstr>think-cell Folie</vt:lpstr>
      <vt:lpstr>AWS Crash Course</vt:lpstr>
      <vt:lpstr>Introduction</vt:lpstr>
      <vt:lpstr>Timetable</vt:lpstr>
      <vt:lpstr>AWS Terminology</vt:lpstr>
      <vt:lpstr>AWS Terminology</vt:lpstr>
      <vt:lpstr>Set Up AWS CLI</vt:lpstr>
      <vt:lpstr>AWS Serverless</vt:lpstr>
      <vt:lpstr>Simple Storage Service (S3)</vt:lpstr>
      <vt:lpstr>S3 Excercise</vt:lpstr>
      <vt:lpstr>DynamoDB</vt:lpstr>
      <vt:lpstr>DynamoDB</vt:lpstr>
      <vt:lpstr>DynamoDB Excercise</vt:lpstr>
      <vt:lpstr>Lambda</vt:lpstr>
      <vt:lpstr>Lambda Limitations</vt:lpstr>
      <vt:lpstr>Lambda Exercise</vt:lpstr>
      <vt:lpstr>API Gateway</vt:lpstr>
      <vt:lpstr>API Gateway Exercise</vt:lpstr>
      <vt:lpstr>Further AWS Services</vt:lpstr>
      <vt:lpstr>Further AWS Services</vt:lpstr>
      <vt:lpstr>Further AWS Services</vt:lpstr>
      <vt:lpstr>Further AWS Services</vt:lpstr>
      <vt:lpstr>Further AWS Services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24</cp:revision>
  <dcterms:created xsi:type="dcterms:W3CDTF">2023-10-23T16:23:26Z</dcterms:created>
  <dcterms:modified xsi:type="dcterms:W3CDTF">2023-12-01T14:4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